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6"/>
  </p:notesMasterIdLst>
  <p:handoutMasterIdLst>
    <p:handoutMasterId r:id="rId7"/>
  </p:handoutMasterIdLst>
  <p:sldIdLst>
    <p:sldId id="321" r:id="rId2"/>
    <p:sldId id="323" r:id="rId3"/>
    <p:sldId id="324" r:id="rId4"/>
    <p:sldId id="325" r:id="rId5"/>
  </p:sldIdLst>
  <p:sldSz cx="12192000" cy="6858000"/>
  <p:notesSz cx="7023100" cy="9309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15" userDrawn="1">
          <p15:clr>
            <a:srgbClr val="A4A3A4"/>
          </p15:clr>
        </p15:guide>
        <p15:guide id="2" pos="393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95B3D7"/>
    <a:srgbClr val="D99694"/>
    <a:srgbClr val="0E743C"/>
    <a:srgbClr val="001F48"/>
    <a:srgbClr val="006C31"/>
    <a:srgbClr val="F2DCDB"/>
    <a:srgbClr val="948A54"/>
    <a:srgbClr val="F4E9E9"/>
    <a:srgbClr val="85192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8934" autoAdjust="0"/>
    <p:restoredTop sz="94364" autoAdjust="0"/>
  </p:normalViewPr>
  <p:slideViewPr>
    <p:cSldViewPr snapToGrid="0">
      <p:cViewPr varScale="1">
        <p:scale>
          <a:sx n="88" d="100"/>
          <a:sy n="88" d="100"/>
        </p:scale>
        <p:origin x="-864" y="-96"/>
      </p:cViewPr>
      <p:guideLst>
        <p:guide orient="horz" pos="4315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3044060" cy="466721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77398" y="6"/>
            <a:ext cx="3044060" cy="466721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r">
              <a:defRPr sz="1200"/>
            </a:lvl1pPr>
          </a:lstStyle>
          <a:p>
            <a:fld id="{1B5FB622-1A8D-4320-A59B-04C56AB073A2}" type="datetimeFigureOut">
              <a:rPr lang="ru-RU" smtClean="0"/>
              <a:pPr/>
              <a:t>24.07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8842389"/>
            <a:ext cx="3044060" cy="466721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77398" y="8842389"/>
            <a:ext cx="3044060" cy="466721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r">
              <a:defRPr sz="1200"/>
            </a:lvl1pPr>
          </a:lstStyle>
          <a:p>
            <a:fld id="{3A496C03-193C-48A5-B2CC-0E7B07A600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938706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4"/>
            <a:ext cx="3043343" cy="467073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8139" y="4"/>
            <a:ext cx="3043343" cy="467073"/>
          </a:xfrm>
          <a:prstGeom prst="rect">
            <a:avLst/>
          </a:prstGeom>
        </p:spPr>
        <p:txBody>
          <a:bodyPr vert="horz" lIns="91364" tIns="45682" rIns="91364" bIns="45682" rtlCol="0"/>
          <a:lstStyle>
            <a:lvl1pPr algn="r">
              <a:defRPr sz="1200"/>
            </a:lvl1pPr>
          </a:lstStyle>
          <a:p>
            <a:fld id="{9A5EBE62-2F05-40A6-9DB1-465C2C48E26C}" type="datetimeFigureOut">
              <a:rPr lang="ru-RU" smtClean="0"/>
              <a:pPr/>
              <a:t>24.07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4" tIns="45682" rIns="91364" bIns="4568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2311" y="4480011"/>
            <a:ext cx="5618480" cy="3665455"/>
          </a:xfrm>
          <a:prstGeom prst="rect">
            <a:avLst/>
          </a:prstGeom>
        </p:spPr>
        <p:txBody>
          <a:bodyPr vert="horz" lIns="91364" tIns="45682" rIns="91364" bIns="456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8842038"/>
            <a:ext cx="3043343" cy="467073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8139" y="8842038"/>
            <a:ext cx="3043343" cy="467073"/>
          </a:xfrm>
          <a:prstGeom prst="rect">
            <a:avLst/>
          </a:prstGeom>
        </p:spPr>
        <p:txBody>
          <a:bodyPr vert="horz" lIns="91364" tIns="45682" rIns="91364" bIns="45682" rtlCol="0" anchor="b"/>
          <a:lstStyle>
            <a:lvl1pPr algn="r">
              <a:defRPr sz="1200"/>
            </a:lvl1pPr>
          </a:lstStyle>
          <a:p>
            <a:fld id="{A1E85537-4093-4201-B65A-427515B3CFD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96897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p:oleObj spid="_x0000_s2837" name="think-cell Slide" r:id="rId3" imgW="360" imgH="360" progId="">
              <p:embed/>
            </p:oleObj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233" t="106" r="9406" b="4609"/>
          <a:stretch/>
        </p:blipFill>
        <p:spPr>
          <a:xfrm>
            <a:off x="1" y="453530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6"/>
            <a:ext cx="9354039" cy="3648611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88000" tIns="1920000" rIns="288000" bIns="144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267" dirty="0">
                <a:solidFill>
                  <a:srgbClr val="00ADEF"/>
                </a:solidFill>
              </a:rPr>
              <a:t>
 </a:t>
            </a:r>
            <a:br>
              <a:rPr lang="en-US" sz="4267" dirty="0">
                <a:solidFill>
                  <a:srgbClr val="00ADEF"/>
                </a:solidFill>
              </a:rPr>
            </a:br>
            <a:endParaRPr lang="en-US" sz="4267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5"/>
            <a:ext cx="8478152" cy="6565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26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2876668"/>
            <a:ext cx="8478152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6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225463"/>
            <a:ext cx="8478152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415502"/>
            <a:ext cx="4822213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CONFIDENTIAL AND PROPRIETARY</a:t>
            </a:r>
          </a:p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1"/>
            <a:ext cx="136608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67" b="1">
                <a:solidFill>
                  <a:srgbClr val="FFFFFF"/>
                </a:solidFill>
              </a:rPr>
              <a:t>WORKING DRAFT</a:t>
            </a:r>
            <a:endParaRPr lang="ru-RU" sz="1067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1"/>
            <a:ext cx="380585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Last Modified 28/04/2017 17:22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3275256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Printed 4-сәу-17 14:11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71" y="64791"/>
            <a:ext cx="65" cy="16421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484410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p:oleObj spid="_x0000_s3861" name="think-cell Slide" r:id="rId3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9700083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21167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170203" y="6621167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770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3" y="37256"/>
            <a:ext cx="863528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67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07820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p:oleObj spid="_x0000_s488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2037029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ED2DE95-21AB-48D6-BD99-441AC97C5A04}" type="datetimeFigureOut">
              <a:rPr lang="ru-RU" smtClean="0"/>
              <a:pPr/>
              <a:t>24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3DFA7A-D1C7-4935-A143-9ED8AA31FEB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52826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p:oleObj spid="_x0000_s1817" name="think-cell Slide" r:id="rId24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7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396166"/>
            <a:ext cx="11725484" cy="369919"/>
            <a:chOff x="119063" y="6268828"/>
            <a:chExt cx="8618537" cy="3625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828"/>
              <a:ext cx="8618537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70440"/>
              <a:ext cx="7200000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12780" indent="-812780" defTabSz="1193770" fontAlgn="base">
                <a:spcBef>
                  <a:spcPct val="0"/>
                </a:spcBef>
                <a:spcAft>
                  <a:spcPct val="0"/>
                </a:spcAft>
                <a:tabLst>
                  <a:tab pos="817013" algn="l"/>
                </a:tabLst>
              </a:pPr>
              <a:r>
                <a:rPr lang="en-US" sz="1067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26185"/>
            <a:ext cx="580118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265043" y="291555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14" y="285077"/>
            <a:ext cx="1028445" cy="1075530"/>
            <a:chOff x="7835905" y="279400"/>
            <a:chExt cx="755934" cy="1054119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38" y="285076"/>
            <a:ext cx="1447443" cy="803414"/>
            <a:chOff x="7540629" y="279400"/>
            <a:chExt cx="1063909" cy="78742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8" y="255920"/>
            <a:ext cx="1119156" cy="1378425"/>
            <a:chOff x="7769225" y="250825"/>
            <a:chExt cx="822609" cy="135098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2" y="2516524"/>
            <a:ext cx="2591592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Last Modified 28/04/2017 17:22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398663"/>
            <a:ext cx="1295796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Printed 4-сәу-17 14:11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48750" y="6584086"/>
            <a:ext cx="209993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333">
                <a:solidFill>
                  <a:srgbClr val="808080"/>
                </a:solidFill>
              </a:rPr>
              <a:pPr/>
              <a:t>‹#›</a:t>
            </a:fld>
            <a:endParaRPr sz="133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023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51" r:id="rId5"/>
  </p:sldLayoutIdLst>
  <p:hf sldNum="0"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359824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67790582"/>
              </p:ext>
            </p:extLst>
          </p:nvPr>
        </p:nvGraphicFramePr>
        <p:xfrm>
          <a:off x="552025" y="788034"/>
          <a:ext cx="10979574" cy="546488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07356"/>
                <a:gridCol w="3331925"/>
                <a:gridCol w="3740293"/>
              </a:tblGrid>
              <a:tr h="321061">
                <a:tc rowSpan="2">
                  <a:txBody>
                    <a:bodyPr/>
                    <a:lstStyle/>
                    <a:p>
                      <a:pPr marL="26987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ГИОН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257" marR="5257" marT="5257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 ГОД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257" marR="5257" marT="5257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84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ГНУТЫХ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5257" marR="5257" marT="5257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7022">
                <a:tc>
                  <a:txBody>
                    <a:bodyPr/>
                    <a:lstStyle/>
                    <a:p>
                      <a:pPr marL="26987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ПУБЛИКА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из 39)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,8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ctr">
                    <a:solidFill>
                      <a:schemeClr val="accent1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ктюбинская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,8%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Жамбылская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,89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рагандинская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,8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станайская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4,8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ангыстауская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8,5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. Астана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8,5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ctr">
                    <a:solidFill>
                      <a:srgbClr val="92D05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З-Казахстанская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2,2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FFC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ызылординская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2,2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FFC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лматинская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,9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FFC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тырауская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,9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FFC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Акмолинская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,6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C00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Ю-Казахстанская 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917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,6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>
                    <a:solidFill>
                      <a:srgbClr val="C00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авлодарская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,6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C00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-Казахстанская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,6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C00000"/>
                    </a:solidFill>
                  </a:tcPr>
                </a:tc>
              </a:tr>
              <a:tr h="277022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г. Алматы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9,6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C00000"/>
                    </a:solidFill>
                  </a:tcPr>
                </a:tc>
              </a:tr>
              <a:tr h="360068">
                <a:tc>
                  <a:txBody>
                    <a:bodyPr/>
                    <a:lstStyle/>
                    <a:p>
                      <a:pPr marL="0" algn="l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-Казахстанская</a:t>
                      </a:r>
                      <a:endParaRPr lang="ru-RU" sz="1600" b="1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219170" rtl="0" eaLnBrk="1" fontAlgn="b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0,7%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7169" marR="7169" marT="7169" marB="0" anchor="b"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48060" y="19188"/>
            <a:ext cx="11284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 РЕГИОНОВ ПО ДОСТИЖЕНИЮ ПОКАЗАТЕЛЕЙ РЕЗУЛЬТАТОВ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РОГРАММЫ за 2017 год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2187" y="6434463"/>
            <a:ext cx="48336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ее количество используемы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казателей для регионов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70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15398" y="73618"/>
            <a:ext cx="11284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 РЕГИОНОВ ПО ДОСТИЖЕНИЮ ПОКАЗАТЕЛЕЙ РЕЗУЛЬТАТОВ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РОГРАММЫ (часть 1)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52400" y="903517"/>
          <a:ext cx="11887193" cy="5377535"/>
        </p:xfrm>
        <a:graphic>
          <a:graphicData uri="http://schemas.openxmlformats.org/drawingml/2006/table">
            <a:tbl>
              <a:tblPr/>
              <a:tblGrid>
                <a:gridCol w="1152065"/>
                <a:gridCol w="384894"/>
                <a:gridCol w="366566"/>
                <a:gridCol w="366566"/>
                <a:gridCol w="366566"/>
                <a:gridCol w="361329"/>
                <a:gridCol w="408459"/>
                <a:gridCol w="408459"/>
                <a:gridCol w="408459"/>
                <a:gridCol w="377041"/>
                <a:gridCol w="366566"/>
                <a:gridCol w="429404"/>
                <a:gridCol w="429404"/>
                <a:gridCol w="429404"/>
                <a:gridCol w="429404"/>
                <a:gridCol w="429404"/>
                <a:gridCol w="366566"/>
                <a:gridCol w="397985"/>
                <a:gridCol w="400603"/>
                <a:gridCol w="400603"/>
                <a:gridCol w="400603"/>
                <a:gridCol w="400603"/>
                <a:gridCol w="418933"/>
                <a:gridCol w="418933"/>
                <a:gridCol w="400603"/>
                <a:gridCol w="400603"/>
                <a:gridCol w="369183"/>
                <a:gridCol w="397985"/>
              </a:tblGrid>
              <a:tr h="124613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Регион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1. Уровень ожидаемой продолжительности жизни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. Индекс здоровья населения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. Количество ДТП с пострадавшими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. Смертность от травм, несчастных случаев, отравлений и травм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. Уровень суицидов среди детей  от 15-17 лет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. Распространенность ВИЧ-инфекции в возрастной группе 15-49 лет в пределах 0,2-0,6%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. Заболеваемость инфекциями, передаваемыми половым путем ( далее - ИППП), среди детей в возрасте 15-17 лет (маркер сифилис)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. Заболеваемость туберкулезом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. Охват граждан, занимающихся физической культурой и спортом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97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    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    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+mj-lt"/>
                        </a:rPr>
                        <a:t>план (</a:t>
                      </a:r>
                      <a:r>
                        <a:rPr lang="ru-RU" sz="800" b="1" i="0" u="none" strike="noStrike" dirty="0" err="1">
                          <a:solidFill>
                            <a:srgbClr val="FF0000"/>
                          </a:solidFill>
                          <a:latin typeface="+mj-lt"/>
                        </a:rPr>
                        <a:t>мем</a:t>
                      </a:r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факт 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факт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факт 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+mj-lt"/>
                        </a:rPr>
                        <a:t>план (</a:t>
                      </a:r>
                      <a:r>
                        <a:rPr lang="ru-RU" sz="800" b="1" i="0" u="none" strike="noStrike" dirty="0" err="1">
                          <a:solidFill>
                            <a:srgbClr val="FF0000"/>
                          </a:solidFill>
                          <a:latin typeface="+mj-lt"/>
                        </a:rPr>
                        <a:t>мем</a:t>
                      </a:r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latin typeface="+mj-lt"/>
                        </a:rPr>
                        <a:t>)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факт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факт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2016 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факт   20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лан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171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Республика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6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974</a:t>
                      </a:r>
                    </a:p>
                  </a:txBody>
                  <a:tcPr marL="5502" marR="5502" marT="550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0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17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6,5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2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4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9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52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2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1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Акмолинская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6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1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2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79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5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3,7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13,3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3,5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5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7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2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4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70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4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8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6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Актюби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3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9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2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5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9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3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1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9,0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1,8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8,8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3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4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5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8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57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7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1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Алмати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8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68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8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3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7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6,9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6,2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6,8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7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8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3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8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51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Атырау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5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8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3,93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3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9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,4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7,5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4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5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6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3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4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З-Казахста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1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6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3,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60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4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0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8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3,3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2,4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3,2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2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8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8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6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Жамбыл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8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,6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89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8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8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8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9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5,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8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2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0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4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6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Караганди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7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88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9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6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4,6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8,0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4,4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6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9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6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4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3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9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0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Костанай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6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5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71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4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3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9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6,8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2,9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6,8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7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8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4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2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1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2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9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6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Кызылорди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0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,83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6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7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7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3,3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6,5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3,2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,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4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9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6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Мангыстау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,2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,9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9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3,67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3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2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5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7,7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9,1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1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4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9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1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5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Ю-Казахстанская 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2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6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2,8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3,56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7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6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15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1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0,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0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3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0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2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0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5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5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6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2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1088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Павлодар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,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36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8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7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0,0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8,2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9,8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9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42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6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8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4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9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7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0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С-Казахста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5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,04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2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0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4,1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8,7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3,8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5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3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,1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9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2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0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0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8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В-Казахстанская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,8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1,4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20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46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20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5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18,6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16,1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18,4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5,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2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5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5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4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9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3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6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0,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0,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8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1088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г. Астана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4,79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5,3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5,45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,7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856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0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8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68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,0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4,5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0,9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6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0,0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17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0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2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3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1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4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3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6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7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8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8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0129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г. Алматы</a:t>
                      </a:r>
                    </a:p>
                  </a:txBody>
                  <a:tcPr marL="5502" marR="5502" marT="5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5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5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76,0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6,0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4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8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20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10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54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2,3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3,6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52,23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14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,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3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348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0,64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2</a:t>
                      </a: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,5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6,7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35,1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45,2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9,9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9,0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15398" y="73618"/>
            <a:ext cx="11284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 РЕГИОНОВ ПО ДОСТИЖЕНИЮ ПОКАЗАТЕЛЕЙ РЕЗУЛЬТАТОВ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РОГРАММЫ (часть 2)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52398" y="881743"/>
          <a:ext cx="11887201" cy="5236027"/>
        </p:xfrm>
        <a:graphic>
          <a:graphicData uri="http://schemas.openxmlformats.org/drawingml/2006/table">
            <a:tbl>
              <a:tblPr/>
              <a:tblGrid>
                <a:gridCol w="990602"/>
                <a:gridCol w="315909"/>
                <a:gridCol w="390925"/>
                <a:gridCol w="390925"/>
                <a:gridCol w="390925"/>
                <a:gridCol w="390925"/>
                <a:gridCol w="390925"/>
                <a:gridCol w="390925"/>
                <a:gridCol w="385780"/>
                <a:gridCol w="390925"/>
                <a:gridCol w="390925"/>
                <a:gridCol w="390925"/>
                <a:gridCol w="473224"/>
                <a:gridCol w="473224"/>
                <a:gridCol w="452650"/>
                <a:gridCol w="380638"/>
                <a:gridCol w="421788"/>
                <a:gridCol w="424358"/>
                <a:gridCol w="424358"/>
                <a:gridCol w="380638"/>
                <a:gridCol w="421788"/>
                <a:gridCol w="421788"/>
                <a:gridCol w="432075"/>
                <a:gridCol w="442362"/>
                <a:gridCol w="442362"/>
                <a:gridCol w="360064"/>
                <a:gridCol w="362634"/>
                <a:gridCol w="362634"/>
              </a:tblGrid>
              <a:tr h="131809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гион</a:t>
                      </a:r>
                    </a:p>
                  </a:txBody>
                  <a:tcPr marL="5472" marR="5472" marT="547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. Охват детей и подростков. занимающихся физической культурой и спортом на базе детско-юнешеских спортивных школ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. Распространенность ожирения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. Доля общеобразовательных учреждений, реализующих программы по профилактике наркомании и поведенческих болезней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. Количество лиц, состоящих на наркологическом учете с пагубным потреблением и заависимостью от наркотиков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4. Общая смертность населения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. Материнская смертность                 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. Младенческая смертность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. Смертность от болезней системы кровообращения (БСК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. Смертность от туберкулеза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635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          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81805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5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5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7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9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7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0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0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6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1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0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кмоли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7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82,1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6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9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8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0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8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1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8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,4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1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8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4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69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65,9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2,3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ктюби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9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8,2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9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6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8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1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4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,0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7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0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9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0,4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9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лмати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6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2,7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6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4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9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8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9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76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66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5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6,5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0,4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4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8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тырау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2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4,9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4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8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9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22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7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7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0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2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8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3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7,0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3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8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2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З-Казахста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5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5,6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5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9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4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5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9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4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0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88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1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7,5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0,2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9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Жамбыл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41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4,9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8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7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1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2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3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7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2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9,9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0,1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раганди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6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69,0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3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6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8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6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5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82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1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30,7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14,9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7,0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останай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9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2,9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3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8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7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8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5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2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3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1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6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0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8,4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7,5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8,5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7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ызылорди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9,4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1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1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4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8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6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2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4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8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9,9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5,5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0,6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Мангыстауская</a:t>
                      </a:r>
                      <a:endParaRPr lang="ru-RU" sz="800" b="1" i="1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,7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1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6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8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4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2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36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9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0,8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5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9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6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Ю-Казахстанская 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1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81,8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5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0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32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06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1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5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2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4,1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2,3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9,4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4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998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авлодар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99,8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33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4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93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0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68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70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5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9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72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6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6,7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3,8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7,1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3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-Казахста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9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0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0,0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7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8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9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1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0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9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9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4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0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5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1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4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0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9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8,0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8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-Казахстанская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42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9,6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1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8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31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5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8,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3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15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2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1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34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27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9,4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5,7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9,4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8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998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Астана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79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4,0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5,7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1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8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8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74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8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9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3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1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3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2,6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2,2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1,9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1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0897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Алматы</a:t>
                      </a:r>
                    </a:p>
                  </a:txBody>
                  <a:tcPr marL="5472" marR="5472" marT="547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09,4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6,3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4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0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4,2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57,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29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2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3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,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3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5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53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01  </a:t>
                      </a:r>
                    </a:p>
                  </a:txBody>
                  <a:tcPr marL="5472" marR="5472" marT="547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,50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3,31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7,47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0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9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8</a:t>
                      </a:r>
                    </a:p>
                  </a:txBody>
                  <a:tcPr marL="5472" marR="5472" marT="547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85052" y="870862"/>
          <a:ext cx="11506205" cy="5651779"/>
        </p:xfrm>
        <a:graphic>
          <a:graphicData uri="http://schemas.openxmlformats.org/drawingml/2006/table">
            <a:tbl>
              <a:tblPr/>
              <a:tblGrid>
                <a:gridCol w="893570"/>
                <a:gridCol w="384636"/>
                <a:gridCol w="384636"/>
                <a:gridCol w="386980"/>
                <a:gridCol w="403396"/>
                <a:gridCol w="412779"/>
                <a:gridCol w="415124"/>
                <a:gridCol w="394016"/>
                <a:gridCol w="394016"/>
                <a:gridCol w="384636"/>
                <a:gridCol w="384636"/>
                <a:gridCol w="384636"/>
                <a:gridCol w="384636"/>
                <a:gridCol w="386980"/>
                <a:gridCol w="386980"/>
                <a:gridCol w="386980"/>
                <a:gridCol w="365873"/>
                <a:gridCol w="412779"/>
                <a:gridCol w="412779"/>
                <a:gridCol w="347107"/>
                <a:gridCol w="328346"/>
                <a:gridCol w="394016"/>
                <a:gridCol w="394016"/>
                <a:gridCol w="394016"/>
                <a:gridCol w="403396"/>
                <a:gridCol w="403396"/>
                <a:gridCol w="440922"/>
                <a:gridCol w="440922"/>
              </a:tblGrid>
              <a:tr h="12688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егион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. Смертность от злокачественных новообразований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0. 5-летняя выживаемость больных с злокачественными новообразованиями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. Ранняя выявляемость злокачественных новообразований (1-2 стадия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. Число прикрепленного населениея на 1 ВОП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3. Доля финансирования ПМСП в рамках ГОБМП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4. Уровень потребления стационарной помощи, финансируемой в условиях ЕНСЗ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5. Уровень удовлетворенности населения качеством медицинской помощи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6. Обеспеченность амбулаторно-поликлиническими организациями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7. Количество реализуемых проектов государственно-частного партнерства, доверительного управления и приватизации в здравоохранении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124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              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лан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6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факт 20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0000"/>
                          </a:solidFill>
                          <a:latin typeface="+mn-lt"/>
                        </a:rPr>
                        <a:t>план (мем)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19520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Республика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8,7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4,1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9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9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9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8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5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7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8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59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5,00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кмоли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2,0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1,1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1,7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,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8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0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6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65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42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28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0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3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,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ктюби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,2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1,8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4,4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5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5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5,7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7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91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2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69,7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1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лмати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4,9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0,8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3,6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4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4,2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3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3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0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14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82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02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6,5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Атырау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4,1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7,1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2,3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0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0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8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0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0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28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5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3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З-Казахста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,8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9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4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0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76,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90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90,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0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Жамбыл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7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6,9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5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2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4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12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64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7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7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араганди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1,3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7,2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2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0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5,2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21,9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28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08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0,7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,8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останай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,8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4,5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9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9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5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5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7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24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14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20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8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ызылорди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0,1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4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0,5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8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0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5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5,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48,9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95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76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7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6,4 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Мангыстау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0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6,7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8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645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13,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01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792,2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9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Ю-Казахстанская 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8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,2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03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35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8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70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9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65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9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1472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Павлодар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3,4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1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41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2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6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1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8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59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57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69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5,6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С-Казахста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5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1,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7,0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3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7,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7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7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16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791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2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7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57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65,3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1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,8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В-Казахстанская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30,7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6,6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27,4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1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2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1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54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4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37,7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2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5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9,5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,4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0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21472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Астана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1,9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2,9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2,0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6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9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7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287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85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3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66,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3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4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7,1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3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,5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  <a:tr h="204966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г. Алматы</a:t>
                      </a:r>
                    </a:p>
                  </a:txBody>
                  <a:tcPr marL="5193" marR="5193" marT="5193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02,7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4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95,1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9,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5,9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3,4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66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7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1900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8,0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87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64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870,4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,8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1,90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2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,8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5193" marR="5193" marT="519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C0DA"/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15398" y="73618"/>
            <a:ext cx="11284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ЖИРОВАНИЕ РЕГИОНОВ ПО ДОСТИЖЕНИЮ ПОКАЗАТЕЛЕЙ РЕЗУЛЬТАТОВ 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ПРОГРАММЫ (часть 3)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578</TotalTime>
  <Words>1916</Words>
  <Application>Microsoft Office PowerPoint</Application>
  <PresentationFormat>Произвольный</PresentationFormat>
  <Paragraphs>1598</Paragraphs>
  <Slides>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6" baseType="lpstr">
      <vt:lpstr>Firm Format - template</vt:lpstr>
      <vt:lpstr>think-cell Slide</vt:lpstr>
      <vt:lpstr>Слайд 1</vt:lpstr>
      <vt:lpstr>Слайд 2</vt:lpstr>
      <vt:lpstr>Слайд 3</vt:lpstr>
      <vt:lpstr>Слайд 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реализации Государственной программы развития здравоохранения Республики Казахстан «Денсаулық» за 2017 год</dc:title>
  <dc:creator>Aliya S. Zhambaeva</dc:creator>
  <cp:lastModifiedBy>muhamedzhanova_d</cp:lastModifiedBy>
  <cp:revision>913</cp:revision>
  <cp:lastPrinted>2018-07-16T14:44:31Z</cp:lastPrinted>
  <dcterms:created xsi:type="dcterms:W3CDTF">2018-03-12T06:10:22Z</dcterms:created>
  <dcterms:modified xsi:type="dcterms:W3CDTF">2018-07-24T11:57:37Z</dcterms:modified>
</cp:coreProperties>
</file>